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648" r:id="rId1"/>
    <p:sldMasterId id="2147483649" r:id="rId2"/>
  </p:sldMasterIdLst>
  <p:notesMasterIdLst>
    <p:notesMasterId r:id="rId14"/>
  </p:notesMasterIdLst>
  <p:sldIdLst>
    <p:sldId id="256" r:id="rId3"/>
    <p:sldId id="258" r:id="rId4"/>
    <p:sldId id="266" r:id="rId5"/>
    <p:sldId id="265" r:id="rId6"/>
    <p:sldId id="267" r:id="rId7"/>
    <p:sldId id="269" r:id="rId8"/>
    <p:sldId id="270" r:id="rId9"/>
    <p:sldId id="276" r:id="rId10"/>
    <p:sldId id="274" r:id="rId11"/>
    <p:sldId id="275" r:id="rId12"/>
    <p:sldId id="259" r:id="rId13"/>
  </p:sldIdLst>
  <p:sldSz cx="12192000" cy="6858000"/>
  <p:notesSz cx="6858000" cy="9872663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1170" autoAdjust="0"/>
  </p:normalViewPr>
  <p:slideViewPr>
    <p:cSldViewPr snapToGrid="0">
      <p:cViewPr varScale="1">
        <p:scale>
          <a:sx n="90" d="100"/>
          <a:sy n="90" d="100"/>
        </p:scale>
        <p:origin x="1272" y="-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53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53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12/6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68313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51220"/>
            <a:ext cx="548640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71800" cy="495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377317"/>
            <a:ext cx="2971800" cy="495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5240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492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05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451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912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6136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290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43334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Х</a:t>
            </a:r>
            <a:r>
              <a:rPr kumimoji="0" lang="ru-RU" alt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лықаралық</a:t>
            </a:r>
            <a: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салық салу </a:t>
            </a:r>
            <a:r>
              <a:rPr kumimoji="0" lang="ru-RU" alt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йынша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</a:t>
            </a:r>
            <a:r>
              <a:rPr lang="ru-RU" sz="1400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сы</a:t>
            </a:r>
            <a:r>
              <a:rPr lang="ru-RU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4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Резидент еме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екеме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д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93469" y="638242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0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A5ADA1-87FA-937C-C09E-4E0E6B020460}"/>
              </a:ext>
            </a:extLst>
          </p:cNvPr>
          <p:cNvSpPr/>
          <p:nvPr/>
        </p:nvSpPr>
        <p:spPr>
          <a:xfrm>
            <a:off x="219808" y="1078581"/>
            <a:ext cx="11816861" cy="4974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і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дың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тал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і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қтылау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53854" y="1970665"/>
            <a:ext cx="5883514" cy="6350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ы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тал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ыл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ыналар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леск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ңбер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у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тын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с-әрек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кілетт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ру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кіз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уарл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ты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іл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ты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г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ес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с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інш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бе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с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) Осы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мақт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інш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гін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мақшалар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ілг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н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аптар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зидент емес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к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л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резидент емес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к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е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дан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ерсонал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г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сы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пт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-тармағының 3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4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мақшалар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ілг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уәландырат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жа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ші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нг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лар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ыл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142800" y="2594459"/>
            <a:ext cx="59150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тал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г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улард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ындауын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ұнда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4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н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й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сқартыл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-1" y="1575993"/>
            <a:ext cx="5991225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дакц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211033" y="1575993"/>
            <a:ext cx="5711337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СК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дакциясынд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038849" y="1676400"/>
            <a:ext cx="10353" cy="507115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761D739-88B2-48FE-B1F0-B729C0E36DAC}"/>
              </a:ext>
            </a:extLst>
          </p:cNvPr>
          <p:cNvSpPr txBox="1"/>
          <p:nvPr/>
        </p:nvSpPr>
        <p:spPr>
          <a:xfrm>
            <a:off x="6096000" y="3889298"/>
            <a:ext cx="58204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л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мен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b="1" dirty="0">
              <a:solidFill>
                <a:srgbClr val="00206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092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ық салу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44718" y="988590"/>
            <a:ext cx="11702561" cy="3946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kk-KZ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 55 салық конвенция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сты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BCD86C-66AE-463F-9374-424E13F59FB4}"/>
              </a:ext>
            </a:extLst>
          </p:cNvPr>
          <p:cNvSpPr txBox="1"/>
          <p:nvPr/>
        </p:nvSpPr>
        <p:spPr>
          <a:xfrm>
            <a:off x="74402" y="1442933"/>
            <a:ext cx="3223602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Ұлыбритания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Ирландия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Канада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Қытай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Халық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Бельгия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Корольдігі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Нидерланд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Корольдігі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Сауд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Арабиясы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Корольдігі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Латвия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Литва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Люксембург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Біріккен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Араб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Әмірліктері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Үндістан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Корея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Польша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Сербия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Сингапур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Словения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публикасы</a:t>
            </a: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Ресей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Федерациясы</a:t>
            </a:r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E9EE19-6750-4201-8C04-C0FD062D41B9}"/>
              </a:ext>
            </a:extLst>
          </p:cNvPr>
          <p:cNvSpPr txBox="1"/>
          <p:nvPr/>
        </p:nvSpPr>
        <p:spPr>
          <a:xfrm>
            <a:off x="3143892" y="1443414"/>
            <a:ext cx="3129542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kern="100" dirty="0">
                <a:solidFill>
                  <a:srgbClr val="00206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 </a:t>
            </a: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Словакия </a:t>
            </a:r>
            <a:r>
              <a:rPr lang="ru-RU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Украина</a:t>
            </a:r>
            <a:b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Финляндия </a:t>
            </a:r>
            <a:r>
              <a:rPr lang="ru-RU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Франция </a:t>
            </a:r>
            <a:r>
              <a:rPr lang="ru-RU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dirty="0" err="1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Жапония</a:t>
            </a:r>
            <a: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Австр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Әзербайж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Венгр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Вьетнам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Грузия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Иран Ислам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Пәкіст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Ислам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Катар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Испан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орольдіг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Норвег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орольдіг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Швец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орольдігі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ырғыз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 Македония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алазия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Моңғолия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BE0888-056A-4DA3-A01E-5168A0E1D3A5}"/>
              </a:ext>
            </a:extLst>
          </p:cNvPr>
          <p:cNvSpPr txBox="1"/>
          <p:nvPr/>
        </p:nvSpPr>
        <p:spPr>
          <a:xfrm>
            <a:off x="6695446" y="1383275"/>
            <a:ext cx="3223602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Армен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еларусь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олгар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тал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ипр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лдов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әжікст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Өзбекст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Хорват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умыния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Америка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ұрам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Штаттар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үркия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Түрікменст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ерман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Федеративтік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Чех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Швейцария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Эстония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ары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түспен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бөлінген,көпжақты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Конвенцияның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ережелерін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қолданылатын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елдер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endParaRPr lang="ru-RU" sz="1600" kern="100" dirty="0">
              <a:solidFill>
                <a:srgbClr val="002060"/>
              </a:solidFill>
              <a:highlight>
                <a:srgbClr val="FFFF00"/>
              </a:highligh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7019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ық сал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0744340" y="1510008"/>
            <a:ext cx="10491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лн. </a:t>
            </a:r>
            <a:r>
              <a:rPr lang="ru-RU" sz="1200" b="1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ге</a:t>
            </a:r>
            <a:endParaRPr lang="ru-RU" sz="1200" i="1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20862"/>
              </p:ext>
            </p:extLst>
          </p:nvPr>
        </p:nvGraphicFramePr>
        <p:xfrm>
          <a:off x="254603" y="1754478"/>
          <a:ext cx="11538936" cy="1742839"/>
        </p:xfrm>
        <a:graphic>
          <a:graphicData uri="http://schemas.openxmlformats.org/drawingml/2006/table">
            <a:tbl>
              <a:tblPr/>
              <a:tblGrid>
                <a:gridCol w="1339829">
                  <a:extLst>
                    <a:ext uri="{9D8B030D-6E8A-4147-A177-3AD203B41FA5}">
                      <a16:colId xmlns:a16="http://schemas.microsoft.com/office/drawing/2014/main" val="2820564501"/>
                    </a:ext>
                  </a:extLst>
                </a:gridCol>
                <a:gridCol w="2519148">
                  <a:extLst>
                    <a:ext uri="{9D8B030D-6E8A-4147-A177-3AD203B41FA5}">
                      <a16:colId xmlns:a16="http://schemas.microsoft.com/office/drawing/2014/main" val="3984918157"/>
                    </a:ext>
                  </a:extLst>
                </a:gridCol>
                <a:gridCol w="2156582">
                  <a:extLst>
                    <a:ext uri="{9D8B030D-6E8A-4147-A177-3AD203B41FA5}">
                      <a16:colId xmlns:a16="http://schemas.microsoft.com/office/drawing/2014/main" val="1823212674"/>
                    </a:ext>
                  </a:extLst>
                </a:gridCol>
                <a:gridCol w="2378880">
                  <a:extLst>
                    <a:ext uri="{9D8B030D-6E8A-4147-A177-3AD203B41FA5}">
                      <a16:colId xmlns:a16="http://schemas.microsoft.com/office/drawing/2014/main" val="3894574452"/>
                    </a:ext>
                  </a:extLst>
                </a:gridCol>
                <a:gridCol w="3144497">
                  <a:extLst>
                    <a:ext uri="{9D8B030D-6E8A-4147-A177-3AD203B41FA5}">
                      <a16:colId xmlns:a16="http://schemas.microsoft.com/office/drawing/2014/main" val="2672952489"/>
                    </a:ext>
                  </a:extLst>
                </a:gridCol>
              </a:tblGrid>
              <a:tr h="65047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Жыл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ейрезиденттер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сан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ейрезиденттердің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кірістері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алық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алудан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осатылған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кірістер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5460165"/>
                  </a:ext>
                </a:extLst>
              </a:tr>
              <a:tr h="5324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Т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абыс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омас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алық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омас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0765988"/>
                  </a:ext>
                </a:extLst>
              </a:tr>
              <a:tr h="2886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4 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070 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3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 608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0990610"/>
                  </a:ext>
                </a:extLst>
              </a:tr>
              <a:tr h="2713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2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 726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65 4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 260 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310776"/>
                  </a:ext>
                </a:extLst>
              </a:tr>
            </a:tbl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44718" y="976920"/>
            <a:ext cx="11712913" cy="6267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Р-да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уд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ҚР-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здерін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ерг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неті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дер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ліметтер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307649" y="4224828"/>
            <a:ext cx="5639630" cy="764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endParaRPr lang="kk-KZ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kk-KZ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ңд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лға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9783" y="4630032"/>
            <a:ext cx="5412402" cy="1680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тұлға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lnSpc>
                <a:spcPct val="114000"/>
              </a:lnSpc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2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айлық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езең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183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олу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ерек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285750" lvl="4" indent="-285750">
              <a:lnSpc>
                <a:spcPct val="114000"/>
              </a:lnSpc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ҚР-да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емес,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ірақ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өмірлік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мүдделер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орталығ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аналады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6106351" y="4383473"/>
            <a:ext cx="523" cy="2364077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6185445" y="4862248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-д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ласқ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л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-д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стыр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л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55070" y="3628888"/>
            <a:ext cx="11702561" cy="50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Р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иденттер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ып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лады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551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Х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қар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ық салу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44719" y="1048729"/>
            <a:ext cx="11702561" cy="50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ерг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рақт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кем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салу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25551" y="1653437"/>
            <a:ext cx="11621730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-да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мен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йт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с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д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дімг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-резидентте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яқ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салу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а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% ставка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за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қ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й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м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,ег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дай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-д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с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ң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ңғым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берха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б.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маст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л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ген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-бейрезидент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ын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ма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-д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д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я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соналы Қ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 ай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25551" y="5240744"/>
            <a:ext cx="116217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77314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Х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қар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ық салу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44719" y="1048729"/>
            <a:ext cx="11702561" cy="50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ерг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гент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салу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37351" y="1673006"/>
            <a:ext cx="11609929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рг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салу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ті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денд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оялти)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д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15%;</a:t>
            </a:r>
          </a:p>
          <a:p>
            <a:pPr algn="just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д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5%;</a:t>
            </a: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СҚ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10%;</a:t>
            </a:r>
          </a:p>
          <a:p>
            <a:pPr algn="just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фшор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0%</a:t>
            </a: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-да салық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да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дерд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с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йтіл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algn="just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а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лер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д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зайнер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нам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algn="just"/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НП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дірмелерін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андық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ла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рек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ед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резстер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май-ақ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к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н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ед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1-2023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тік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2 млрд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сыз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д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,4 млрд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намалық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ындай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л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к 1 НП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 млрд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д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8 млрд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Tx/>
              <a:buChar char="-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ай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нағаттандырылма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анс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Tx/>
              <a:buChar char="-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ай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бе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кспорт (ҚР ҰБ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85750" indent="-285750" algn="just">
              <a:buFontTx/>
              <a:buChar char="-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телд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т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ттар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ма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ыз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ҚР ҰБ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algn="just"/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уғ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г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н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ғ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рест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ҰБ ҚР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тер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маға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ыздарғ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салу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д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к 2022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тоқсан 2024 ж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рді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маға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ыз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,6 млрд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лар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343841" y="64477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78081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Х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қар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ық салу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44719" y="1048729"/>
            <a:ext cx="11702561" cy="504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kk-KZ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қаралық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венцияларға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ерг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салу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44716" y="1586128"/>
            <a:ext cx="1170256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рлан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дырм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ар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роялти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денд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з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қ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л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6561" y="3525119"/>
            <a:ext cx="5861117" cy="323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тіг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й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дер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жа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венция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с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ыңғырлану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тару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I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қимы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ст (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PT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у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81135" y="3617451"/>
            <a:ext cx="556614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%, 5%, 10%, 15%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әсім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244715" y="2682778"/>
            <a:ext cx="5752963" cy="6910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венция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желері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тінш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ы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6381135" y="2691851"/>
            <a:ext cx="5566141" cy="6910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венция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желері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сілі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416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Х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қар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ық салу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174746" y="1030640"/>
            <a:ext cx="11842507" cy="3946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зін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талға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КТС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юджетін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йтар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39942" y="1527513"/>
            <a:ext cx="118726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-да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Қ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л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і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ге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30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ыл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139942" y="2932218"/>
            <a:ext cx="11842507" cy="3946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резидентт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талға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к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39942" y="3364765"/>
            <a:ext cx="118726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-д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п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гін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тізбе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139941" y="4841710"/>
            <a:ext cx="11842507" cy="3946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венцияс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ңберіндег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әсім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4746" y="5338583"/>
            <a:ext cx="118726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ы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пе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әсім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зырет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5272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ЖСК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ешілге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проблем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93469" y="638242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dirty="0">
                <a:solidFill>
                  <a:prstClr val="black">
                    <a:tint val="75000"/>
                  </a:prstClr>
                </a:solidFill>
                <a:latin typeface="Calibri"/>
              </a:rPr>
              <a:t>7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A5ADA1-87FA-937C-C09E-4E0E6B020460}"/>
              </a:ext>
            </a:extLst>
          </p:cNvPr>
          <p:cNvSpPr/>
          <p:nvPr/>
        </p:nvSpPr>
        <p:spPr>
          <a:xfrm>
            <a:off x="219808" y="1078581"/>
            <a:ext cx="11816861" cy="4974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ялти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мин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ғдарламалық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гінде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-1" y="2691619"/>
            <a:ext cx="5883514" cy="2359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ялти-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ияткерл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нш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ісі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үлікт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рық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қ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о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ту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тентт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у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лгілер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а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ы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са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қ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пағанда,автор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қ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бағдарламалық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ызбал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одельд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146560" y="2691619"/>
            <a:ext cx="5915025" cy="3811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Р ҰБ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ысын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оялти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мин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ғдарламалық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алқ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д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ялти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г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ысықтал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ұл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тт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роялти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ң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ұсқа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й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ңартусы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Қ-да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тел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зет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мекш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д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ылмай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Егер роялти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д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мекш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дерд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нбе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ргізіл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мас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 marL="0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нықтама: ЭЫДҰ-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ң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одельдік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венцияғ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сініктемелерінің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1.6-тармағына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гер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айд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ылаты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ктердің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і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ың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гі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ы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лдірс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ал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ктер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к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мекші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ңызд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емес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ипатт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с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д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гі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кк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латы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жим,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детт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емнің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лу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рек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-1" y="1575993"/>
            <a:ext cx="5991225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дакц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211033" y="1575993"/>
            <a:ext cx="5711337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СК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дакциясынд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038849" y="1676400"/>
            <a:ext cx="10353" cy="507115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5725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ЖСК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ешілге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проблем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93469" y="638242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A5ADA1-87FA-937C-C09E-4E0E6B020460}"/>
              </a:ext>
            </a:extLst>
          </p:cNvPr>
          <p:cNvSpPr/>
          <p:nvPr/>
        </p:nvSpPr>
        <p:spPr>
          <a:xfrm>
            <a:off x="219808" y="1078581"/>
            <a:ext cx="11816861" cy="4974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ялти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рмин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ғдарламалық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гінде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-1" y="2691619"/>
            <a:ext cx="5883514" cy="2852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ялти-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неркәсіпт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бдық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ербоут-чартер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имайз-чартер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н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і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мелер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имайз-чартер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н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у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мелерін,сондай-а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у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ғылыми-зертте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бдықтар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ған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но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у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инофильмд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йнефильмд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пайдалан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,дыбы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з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з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алдар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146560" y="2691619"/>
            <a:ext cx="5915025" cy="3318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неркәсіптік,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ммерция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-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бдық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,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і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у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мес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ысықтал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н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мел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ер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лер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қ,өйткен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ара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жірибе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р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д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ы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лер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үмк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емес</a:t>
            </a:r>
          </a:p>
          <a:p>
            <a:pPr marL="0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нықтама: 2021-2024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дар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алығындағы</a:t>
            </a:r>
            <a:r>
              <a:rPr lang="en-US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еңд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орындар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у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месі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ипажсыз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ғ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ған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79294 млн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масын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нбай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ді,Жоғалға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мас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6824 млн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г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ставка 15%).Б</a:t>
            </a:r>
            <a:r>
              <a:rPr lang="kk-KZ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н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,бейрезидент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арланған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уд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дырмау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аралық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ға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0 % (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</a:t>
            </a:r>
            <a:r>
              <a:rPr lang="kk-KZ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 сомасы 17929 млн теңге) ставка қолдануға құқылы№</a:t>
            </a:r>
            <a:endParaRPr lang="ru-RU" sz="1600" i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1" y="1575993"/>
            <a:ext cx="5991225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дакц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211033" y="1575993"/>
            <a:ext cx="5711337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СК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дакциясынд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038849" y="1676400"/>
            <a:ext cx="10353" cy="507115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7392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93469" y="638242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9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A5ADA1-87FA-937C-C09E-4E0E6B020460}"/>
              </a:ext>
            </a:extLst>
          </p:cNvPr>
          <p:cNvSpPr/>
          <p:nvPr/>
        </p:nvSpPr>
        <p:spPr>
          <a:xfrm>
            <a:off x="219808" y="1078581"/>
            <a:ext cx="11816861" cy="4974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ctr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лар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халықаралық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жірибеге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тіру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0" y="1989889"/>
            <a:ext cx="5883514" cy="6104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л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тар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л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ыл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згіл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ынада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аптар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ыл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ында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зидент емес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б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генті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пын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де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тек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е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й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;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у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яқт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с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асында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ақы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ең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тарын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н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к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д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пай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180975" lvl="4" algn="just">
              <a:spcAft>
                <a:spcPts val="200"/>
              </a:spcAft>
              <a:buClr>
                <a:srgbClr val="002060"/>
              </a:buClr>
              <a:tabLst>
                <a:tab pos="361950" algn="l"/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идент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ст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пы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гентім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пым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сасқ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лард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еу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індеттемел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зидент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ст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пы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мау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ында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зидент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ст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пы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індеттемел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уын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с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л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ыл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142800" y="2594459"/>
            <a:ext cx="591502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ларм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зидент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ст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рақ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кемес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нықт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са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ғым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ыл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зидент емес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б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йт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сас-ұқса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ныла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иға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қса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са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са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змұн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ар;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л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ехнология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ылат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м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йлан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де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урс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бдық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керл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фрақұрылым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ыл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дей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қса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-1" y="1575993"/>
            <a:ext cx="5991225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едакц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211033" y="1575993"/>
            <a:ext cx="5711337" cy="413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lnSpc>
                <a:spcPct val="114000"/>
              </a:lnSpc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СК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дакциясындағы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ба</a:t>
            </a:r>
            <a:endParaRPr lang="ru-RU" sz="2000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038849" y="1676400"/>
            <a:ext cx="10353" cy="507115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D224A55-FD3F-4EAC-8C95-DCCF577A4313}"/>
              </a:ext>
            </a:extLst>
          </p:cNvPr>
          <p:cNvSpPr/>
          <p:nvPr/>
        </p:nvSpPr>
        <p:spPr>
          <a:xfrm>
            <a:off x="0" y="-1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 Резидент еме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екеме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ынд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5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3</TotalTime>
  <Words>1612</Words>
  <Application>Microsoft Office PowerPoint</Application>
  <PresentationFormat>Широкоэкранный</PresentationFormat>
  <Paragraphs>170</Paragraphs>
  <Slides>11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Century Gothic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урзагалиева Лаззат Имангельдиевна</dc:creator>
  <cp:lastModifiedBy>Елдос Қашқынбаев Советұлы</cp:lastModifiedBy>
  <cp:revision>158</cp:revision>
  <cp:lastPrinted>2024-12-06T10:34:46Z</cp:lastPrinted>
  <dcterms:modified xsi:type="dcterms:W3CDTF">2024-12-06T15:37:29Z</dcterms:modified>
</cp:coreProperties>
</file>